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481636" r:id="rId2"/>
    <p:sldId id="2147481592" r:id="rId3"/>
    <p:sldId id="2147481639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2.sv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2.svg"/><Relationship Id="rId3" Type="http://schemas.openxmlformats.org/officeDocument/2006/relationships/tags" Target="../tags/tag13.xml"/><Relationship Id="rId7" Type="http://schemas.openxmlformats.org/officeDocument/2006/relationships/image" Target="../media/image9.png"/><Relationship Id="rId12" Type="http://schemas.openxmlformats.org/officeDocument/2006/relationships/image" Target="../media/image1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6.emf"/><Relationship Id="rId11" Type="http://schemas.openxmlformats.org/officeDocument/2006/relationships/image" Target="../media/image13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2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microsoft.com/office/2007/relationships/hdphoto" Target="../media/hdphoto1.wdp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microsoft.com/office/2007/relationships/hdphoto" Target="../media/hdphoto1.wdp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484E6626-FD7E-4C63-8D13-D66A8A348C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101C832-6FAC-40A0-BBA3-94F0E463DC45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1470479"/>
            <a:ext cx="6350010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B30C48B-685A-4627-8230-DBBFCD3E60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74841" y="1759937"/>
            <a:ext cx="5765982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83A02BE-49C7-41EC-A224-F228B39F3B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4841" y="4752153"/>
            <a:ext cx="5765982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78388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1952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85559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4206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361950" indent="-180975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919669-F96A-4239-990D-B48E0AE68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20154" y="6295536"/>
            <a:ext cx="201384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BF1CF3-C473-4B59-9814-FFEC4D26E8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4 KPMG LLP, a Delaware limited liability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D5ED2D-F17F-4481-8AE6-4D9EA0535145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Graphic 8">
            <a:extLst>
              <a:ext uri="{FF2B5EF4-FFF2-40B4-BE49-F238E27FC236}">
                <a16:creationId xmlns:a16="http://schemas.microsoft.com/office/drawing/2014/main" id="{8D073B6C-A3F6-459D-BC13-DC57D78ED58C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9234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95200" cy="5334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96358" y="6295536"/>
            <a:ext cx="193763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4 KPMG LLP, a Delaware limited liability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2012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98B95CDD-2ABB-4477-9BBC-48463CC47FEF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60619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702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95200" cy="5334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64606" y="6295536"/>
            <a:ext cx="196938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4 KPMG LLP, a Delaware limited liability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26EE2363-59EE-4324-9D1D-5A7467133FB7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37314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78239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94563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4644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6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6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83740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155BC26-8F17-7FC3-AD6F-51DF0F4DF8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5" r="6250" b="31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84E6626-FD7E-4C63-8D13-D66A8A348C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8476" y="431800"/>
            <a:ext cx="914400" cy="36834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B30C48B-685A-4627-8230-DBBFCD3E60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7" y="1759937"/>
            <a:ext cx="5097524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83A02BE-49C7-41EC-A224-F228B39F3B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7" y="4752153"/>
            <a:ext cx="5097524" cy="525903"/>
          </a:xfrm>
          <a:ln w="3175">
            <a:noFill/>
            <a:prstDash val="lgDash"/>
          </a:ln>
        </p:spPr>
        <p:txBody>
          <a:bodyPr wrap="square" anchor="t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8BFB1D5-D046-4E06-8AD4-1BE7283AC7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8477" y="5567423"/>
            <a:ext cx="5097524" cy="309502"/>
          </a:xfrm>
          <a:ln w="3175">
            <a:noFill/>
            <a:prstDash val="lgDash"/>
          </a:ln>
        </p:spPr>
        <p:txBody>
          <a:bodyPr wrap="square" anchor="t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Date here</a:t>
            </a:r>
          </a:p>
        </p:txBody>
      </p:sp>
    </p:spTree>
    <p:extLst>
      <p:ext uri="{BB962C8B-B14F-4D97-AF65-F5344CB8AC3E}">
        <p14:creationId xmlns:p14="http://schemas.microsoft.com/office/powerpoint/2010/main" val="138562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03200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2433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latin typeface="Arial" panose="020B0604020202020204" pitchFamily="34" charset="0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161566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6D499DA-AB3A-42FA-AEC3-59074A9B143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3300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30087E5F-B6BA-4B21-AEE1-13ECBDE2B7A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82433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87444CB-F6F1-40E7-BD1A-43812BC02B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61566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BF16C7DF-AAFB-48BF-9719-BEDB49FA0EA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740700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BE82B65-4225-4835-9D11-414E80A480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40700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5"/>
                </a:solidFill>
                <a:latin typeface="Arial" panose="020B0604020202020204" pitchFamily="34" charset="0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24AF4F7-6286-4F12-8CC6-9D3D2C2EA2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7953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1</a:t>
            </a:r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1AAB6E-94B2-4E91-9CEB-50E84434F0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95363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41DA198-669A-415B-9D0E-89D5BDCB8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2433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DC5114C-C3D2-49E7-A38D-466F95B5A2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61566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468C94C-268F-4547-8993-7B47FB365E8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0700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CA373DA8-5766-4E27-AB6B-2D49F7E7841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37085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2</a:t>
            </a:r>
            <a:endParaRPr lang="en-GB"/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72EC7370-28C3-4DEF-9936-6044EC44FD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6218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3</a:t>
            </a:r>
            <a:endParaRPr lang="en-GB"/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CA9841A3-E975-4AA0-932D-99A38F36198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595352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9662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781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41423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 userDrawn="1"/>
        </p:nvSpPr>
        <p:spPr>
          <a:xfrm>
            <a:off x="0" y="0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72059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437994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155391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9018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72788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3" y="1330325"/>
            <a:ext cx="10185400" cy="53860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63255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03251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86842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6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20971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6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20971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6" y="2546022"/>
            <a:ext cx="3049649" cy="21183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68996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3"/>
            <a:ext cx="4968000" cy="4156211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720713"/>
            <a:ext cx="4968000" cy="4156211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36928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208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208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07593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 Boxes BG Dark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1763B05F-830B-4267-AD78-15D92D15E48D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F13A210-92DD-4299-9F1D-B2FE60EC31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902702" y="6295536"/>
            <a:ext cx="193129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359EB3-99CA-467E-9F82-D5B531A28A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4C51904-D930-45AA-AF92-A006847C8BF5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2086F202-0162-4310-A956-FCCC947433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0" name="Text Placeholder 8">
            <a:extLst>
              <a:ext uri="{FF2B5EF4-FFF2-40B4-BE49-F238E27FC236}">
                <a16:creationId xmlns:a16="http://schemas.microsoft.com/office/drawing/2014/main" id="{E8B6691E-17EA-480D-B598-F314E1A68E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8">
            <a:extLst>
              <a:ext uri="{FF2B5EF4-FFF2-40B4-BE49-F238E27FC236}">
                <a16:creationId xmlns:a16="http://schemas.microsoft.com/office/drawing/2014/main" id="{59F2358C-C167-462D-9F76-6D66B9B409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208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B2FCC9C9-35DE-4F3C-A352-30EE65DD5B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8">
            <a:extLst>
              <a:ext uri="{FF2B5EF4-FFF2-40B4-BE49-F238E27FC236}">
                <a16:creationId xmlns:a16="http://schemas.microsoft.com/office/drawing/2014/main" id="{EA017BC0-9170-4186-94F7-40E80F981A0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0383342E-84C2-404C-8D37-45747A1916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 Placeholder 8">
            <a:extLst>
              <a:ext uri="{FF2B5EF4-FFF2-40B4-BE49-F238E27FC236}">
                <a16:creationId xmlns:a16="http://schemas.microsoft.com/office/drawing/2014/main" id="{BE27B3E2-E887-473C-8464-38B061F67EA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208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4C0C9B8C-19B0-44D7-9F0F-975D45D400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208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8">
            <a:extLst>
              <a:ext uri="{FF2B5EF4-FFF2-40B4-BE49-F238E27FC236}">
                <a16:creationId xmlns:a16="http://schemas.microsoft.com/office/drawing/2014/main" id="{A75E6CC5-8B44-4F43-ACAA-428A4ADCE45D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44182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2F42A10-689A-D5BF-F232-F071A4404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55" t="556" r="555" b="55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84E6626-FD7E-4C63-8D13-D66A8A348C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8476" y="431800"/>
            <a:ext cx="914400" cy="36834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B30C48B-685A-4627-8230-DBBFCD3E60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7" y="1559298"/>
            <a:ext cx="5097524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83A02BE-49C7-41EC-A224-F228B39F3B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7" y="4752153"/>
            <a:ext cx="5097524" cy="525903"/>
          </a:xfrm>
          <a:ln w="3175">
            <a:noFill/>
            <a:prstDash val="lgDash"/>
          </a:ln>
        </p:spPr>
        <p:txBody>
          <a:bodyPr wrap="square" anchor="t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8BFB1D5-D046-4E06-8AD4-1BE7283AC7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8477" y="5567423"/>
            <a:ext cx="5097524" cy="309502"/>
          </a:xfrm>
          <a:ln w="3175">
            <a:noFill/>
            <a:prstDash val="lgDash"/>
          </a:ln>
        </p:spPr>
        <p:txBody>
          <a:bodyPr wrap="square" anchor="t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Date here</a:t>
            </a:r>
          </a:p>
        </p:txBody>
      </p:sp>
    </p:spTree>
    <p:extLst>
      <p:ext uri="{BB962C8B-B14F-4D97-AF65-F5344CB8AC3E}">
        <p14:creationId xmlns:p14="http://schemas.microsoft.com/office/powerpoint/2010/main" val="2852518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981075"/>
            <a:ext cx="5252400" cy="3784725"/>
          </a:xfrm>
          <a:noFill/>
        </p:spPr>
        <p:txBody>
          <a:bodyPr lIns="0" tIns="0" rIns="0" bIns="0" anchor="ctr" anchorCtr="0"/>
          <a:lstStyle>
            <a:lvl1pPr algn="l">
              <a:lnSpc>
                <a:spcPct val="80000"/>
              </a:lnSpc>
              <a:defRPr lang="en-US" sz="60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82398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0028513-B602-5644-A42D-249AF7945B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9" t="10463" b="509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5363" y="1140069"/>
            <a:ext cx="1082675" cy="1107996"/>
          </a:xfrm>
        </p:spPr>
        <p:txBody>
          <a:bodyPr anchor="ctr" anchorCtr="0">
            <a:spAutoFit/>
          </a:bodyPr>
          <a:lstStyle>
            <a:lvl1pPr>
              <a:lnSpc>
                <a:spcPct val="80000"/>
              </a:lnSpc>
              <a:defRPr lang="en-US" sz="7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5363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lang="en-US" sz="60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GB"/>
              <a:t>Title slide text on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1581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urple and blue light streaks&#10;&#10;Description automatically generated with medium confidence">
            <a:extLst>
              <a:ext uri="{FF2B5EF4-FFF2-40B4-BE49-F238E27FC236}">
                <a16:creationId xmlns:a16="http://schemas.microsoft.com/office/drawing/2014/main" id="{37F5547D-2AFF-52F8-1AA7-BA5683C57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1" t="9107" r="12624" b="432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501BC1B-6562-88E5-B6DA-9F4FB597B76F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D92E415-5346-B3BC-0707-B953F482F8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5210CEF-1F6F-2893-35EE-6ECD7DB721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1107996"/>
          </a:xfrm>
        </p:spPr>
        <p:txBody>
          <a:bodyPr anchor="ctr" anchorCtr="0">
            <a:spAutoFit/>
          </a:bodyPr>
          <a:lstStyle>
            <a:lvl1pPr>
              <a:lnSpc>
                <a:spcPct val="80000"/>
              </a:lnSpc>
              <a:defRPr lang="en-US" sz="7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0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2093A33-3C2B-7A9B-9C01-7C6DDB7BECB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lang="en-US" sz="60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GB"/>
              <a:t>Title slide text on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6223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1107996"/>
          </a:xfrm>
        </p:spPr>
        <p:txBody>
          <a:bodyPr anchor="ctr" anchorCtr="0">
            <a:spAutoFit/>
          </a:bodyPr>
          <a:lstStyle>
            <a:lvl1pPr>
              <a:lnSpc>
                <a:spcPct val="80000"/>
              </a:lnSpc>
              <a:defRPr lang="en-US" sz="7200" b="1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lang="en-US" sz="6000" b="1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GB"/>
              <a:t>Title slide text on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8259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lang="en-US" sz="6000" b="1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GB"/>
              <a:t>Title slide text only</a:t>
            </a:r>
            <a:endParaRPr lang="en-US"/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1107996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7200" b="1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4539405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1330325"/>
            <a:ext cx="5252400" cy="2367199"/>
          </a:xfrm>
          <a:noFill/>
        </p:spPr>
        <p:txBody>
          <a:bodyPr lIns="0" tIns="0" rIns="0" bIns="0" anchor="ctr" anchorCtr="0"/>
          <a:lstStyle>
            <a:lvl1pPr algn="l">
              <a:defRPr lang="en-US" sz="60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4533309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714499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100000">
              <a:schemeClr val="accent1"/>
            </a:gs>
            <a:gs pos="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>
            <p:custDataLst>
              <p:tags r:id="rId1"/>
            </p:custDataLst>
          </p:nvPr>
        </p:nvSpPr>
        <p:spPr>
          <a:xfrm>
            <a:off x="989263" y="5750095"/>
            <a:ext cx="21416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1E9CC-2A2B-4C75-8522-60824F3AC7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E01CBC1-FC71-43BD-845D-21EEEFA256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C4D5492-D401-42A2-B377-EA27220983D3}"/>
              </a:ext>
            </a:extLst>
          </p:cNvPr>
          <p:cNvGrpSpPr/>
          <p:nvPr userDrawn="1"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F196AFE-0767-4ACF-9869-412F4845EABF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E42C7C2-E55C-467A-A194-4BA78575F316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45E1FE7-629E-4892-B2EB-2FDAB3326BE5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7E3B322-EB53-4C7E-8968-4B7B3CE2432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F3E6F56-5300-4CC2-8B6F-98341C903A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10" name="Picture 9" descr="Icon&#10;&#10;Description automatically generated">
              <a:extLst>
                <a:ext uri="{FF2B5EF4-FFF2-40B4-BE49-F238E27FC236}">
                  <a16:creationId xmlns:a16="http://schemas.microsoft.com/office/drawing/2014/main" id="{5688464F-C48A-4F62-97E1-E717A76F03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12" name="Picture 11" descr="Logo&#10;&#10;Description automatically generated">
              <a:extLst>
                <a:ext uri="{FF2B5EF4-FFF2-40B4-BE49-F238E27FC236}">
                  <a16:creationId xmlns:a16="http://schemas.microsoft.com/office/drawing/2014/main" id="{3DBC0AA5-6153-434E-A0C9-A5D940745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13" name="Picture 12" descr="Logo&#10;&#10;Description automatically generated">
              <a:extLst>
                <a:ext uri="{FF2B5EF4-FFF2-40B4-BE49-F238E27FC236}">
                  <a16:creationId xmlns:a16="http://schemas.microsoft.com/office/drawing/2014/main" id="{809B7D2B-5280-4ED4-B112-B6C654C52E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14" name="Picture 13" descr="Icon&#10;&#10;Description automatically generated">
              <a:extLst>
                <a:ext uri="{FF2B5EF4-FFF2-40B4-BE49-F238E27FC236}">
                  <a16:creationId xmlns:a16="http://schemas.microsoft.com/office/drawing/2014/main" id="{B338E268-56D8-4524-BB26-DA84FEEF86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D7CE8814-2E6C-49B9-A2A8-80AB288D9AA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1035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>
            <p:custDataLst>
              <p:tags r:id="rId1"/>
            </p:custDataLst>
          </p:nvPr>
        </p:nvSpPr>
        <p:spPr>
          <a:xfrm>
            <a:off x="989263" y="5750095"/>
            <a:ext cx="21416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835BAAE-8387-4EE5-AB59-6FBE19144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3B40796-98D9-465A-9944-CCD9D00EE9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accent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D33E6D-5377-46E3-B1FF-E91C54D03F04}"/>
              </a:ext>
            </a:extLst>
          </p:cNvPr>
          <p:cNvGrpSpPr/>
          <p:nvPr userDrawn="1"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4461B7-55B7-4469-ADF0-D4A2CB8F5710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6F734C6-FA66-47AA-9466-88AC05333E29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B928039-DB0D-4F9F-A695-D6F65A328FCD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E314CEC-778A-45F5-AF53-25973CFF2C6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A5A09B0-ADE2-48D6-9500-156D9353A9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7D51E6DF-03C0-4528-A826-C16F599ABA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5" name="Picture 24" descr="Logo&#10;&#10;Description automatically generated">
              <a:extLst>
                <a:ext uri="{FF2B5EF4-FFF2-40B4-BE49-F238E27FC236}">
                  <a16:creationId xmlns:a16="http://schemas.microsoft.com/office/drawing/2014/main" id="{B7A09755-6B8F-4E6B-95E4-A3F59CF5D0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6" name="Picture 25" descr="Logo&#10;&#10;Description automatically generated">
              <a:extLst>
                <a:ext uri="{FF2B5EF4-FFF2-40B4-BE49-F238E27FC236}">
                  <a16:creationId xmlns:a16="http://schemas.microsoft.com/office/drawing/2014/main" id="{FF482287-E023-4BA0-BEEC-A27AF495C2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475EF34B-0D63-4B5C-BF0F-AA0D0D345D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316E0CBF-F67B-4988-A694-3CA5B79E65D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7891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 userDrawn="1"/>
        </p:nvSpPr>
        <p:spPr>
          <a:xfrm>
            <a:off x="998351" y="2246533"/>
            <a:ext cx="839614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 userDrawn="1"/>
        </p:nvSpPr>
        <p:spPr>
          <a:xfrm>
            <a:off x="998351" y="1731971"/>
            <a:ext cx="839614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 userDrawn="1"/>
        </p:nvSpPr>
        <p:spPr>
          <a:xfrm>
            <a:off x="998351" y="2761094"/>
            <a:ext cx="839614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 userDrawn="1"/>
        </p:nvSpPr>
        <p:spPr>
          <a:xfrm>
            <a:off x="998351" y="3275656"/>
            <a:ext cx="839614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 userDrawn="1"/>
        </p:nvSpPr>
        <p:spPr>
          <a:xfrm>
            <a:off x="983882" y="1330325"/>
            <a:ext cx="1364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 userDrawn="1"/>
        </p:nvSpPr>
        <p:spPr>
          <a:xfrm>
            <a:off x="1921682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Spectrum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 userDrawn="1"/>
        </p:nvSpPr>
        <p:spPr>
          <a:xfrm>
            <a:off x="1921682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 userDrawn="1"/>
        </p:nvSpPr>
        <p:spPr>
          <a:xfrm>
            <a:off x="1921682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Light Blu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6B15E2D-58A0-4506-8A15-E27C173174FA}"/>
              </a:ext>
            </a:extLst>
          </p:cNvPr>
          <p:cNvGrpSpPr/>
          <p:nvPr userDrawn="1"/>
        </p:nvGrpSpPr>
        <p:grpSpPr>
          <a:xfrm>
            <a:off x="2999643" y="1731971"/>
            <a:ext cx="2177326" cy="411225"/>
            <a:chOff x="2992848" y="1717717"/>
            <a:chExt cx="2177326" cy="41122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2309040-9C95-48FE-AA99-4757E8328519}"/>
                </a:ext>
              </a:extLst>
            </p:cNvPr>
            <p:cNvSpPr/>
            <p:nvPr userDrawn="1"/>
          </p:nvSpPr>
          <p:spPr>
            <a:xfrm>
              <a:off x="2992848" y="1717717"/>
              <a:ext cx="839614" cy="411225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A430D78-5EDB-481E-BB6D-67D8689BCE11}"/>
                </a:ext>
              </a:extLst>
            </p:cNvPr>
            <p:cNvSpPr txBox="1"/>
            <p:nvPr userDrawn="1"/>
          </p:nvSpPr>
          <p:spPr>
            <a:xfrm>
              <a:off x="3916179" y="1802518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Blue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 userDrawn="1"/>
        </p:nvSpPr>
        <p:spPr>
          <a:xfrm>
            <a:off x="1921682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Cobalt Blu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356161F-C4E7-4F32-B00D-D64EBA9D34CA}"/>
              </a:ext>
            </a:extLst>
          </p:cNvPr>
          <p:cNvGrpSpPr/>
          <p:nvPr userDrawn="1"/>
        </p:nvGrpSpPr>
        <p:grpSpPr>
          <a:xfrm>
            <a:off x="998351" y="3783824"/>
            <a:ext cx="2177326" cy="1433953"/>
            <a:chOff x="998351" y="4298384"/>
            <a:chExt cx="2177326" cy="143395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453D312-00EF-44B5-9D91-290BE0E19654}"/>
                </a:ext>
              </a:extLst>
            </p:cNvPr>
            <p:cNvSpPr/>
            <p:nvPr userDrawn="1"/>
          </p:nvSpPr>
          <p:spPr>
            <a:xfrm>
              <a:off x="998351" y="4298384"/>
              <a:ext cx="839614" cy="411225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8D98991-520C-4FD6-8B23-8732995E56B1}"/>
                </a:ext>
              </a:extLst>
            </p:cNvPr>
            <p:cNvSpPr/>
            <p:nvPr userDrawn="1"/>
          </p:nvSpPr>
          <p:spPr>
            <a:xfrm>
              <a:off x="998351" y="4812944"/>
              <a:ext cx="839614" cy="411225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FA38B4C-5B80-413E-B283-1F1ADBFD09CD}"/>
                </a:ext>
              </a:extLst>
            </p:cNvPr>
            <p:cNvSpPr/>
            <p:nvPr userDrawn="1"/>
          </p:nvSpPr>
          <p:spPr>
            <a:xfrm>
              <a:off x="998351" y="5321112"/>
              <a:ext cx="839614" cy="411225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B01B4DF-404A-4544-B313-2720FCBDD0B4}"/>
                </a:ext>
              </a:extLst>
            </p:cNvPr>
            <p:cNvSpPr txBox="1"/>
            <p:nvPr userDrawn="1"/>
          </p:nvSpPr>
          <p:spPr>
            <a:xfrm>
              <a:off x="1921682" y="4386074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acific Blue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6DFA940-4699-43CF-A21A-AE4227704697}"/>
                </a:ext>
              </a:extLst>
            </p:cNvPr>
            <p:cNvSpPr txBox="1"/>
            <p:nvPr userDrawn="1"/>
          </p:nvSpPr>
          <p:spPr>
            <a:xfrm>
              <a:off x="1921682" y="4897131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urpl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9A40265-6498-4E16-877D-6BC9A8CE7DCA}"/>
                </a:ext>
              </a:extLst>
            </p:cNvPr>
            <p:cNvSpPr txBox="1"/>
            <p:nvPr userDrawn="1"/>
          </p:nvSpPr>
          <p:spPr>
            <a:xfrm>
              <a:off x="1921682" y="5408191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ink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 userDrawn="1"/>
        </p:nvSpPr>
        <p:spPr>
          <a:xfrm>
            <a:off x="2992848" y="1330325"/>
            <a:ext cx="1946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 userDrawn="1"/>
        </p:nvSpPr>
        <p:spPr>
          <a:xfrm>
            <a:off x="2999643" y="2240139"/>
            <a:ext cx="839614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 userDrawn="1"/>
        </p:nvSpPr>
        <p:spPr>
          <a:xfrm>
            <a:off x="2999643" y="2754701"/>
            <a:ext cx="839614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 userDrawn="1"/>
        </p:nvSpPr>
        <p:spPr>
          <a:xfrm>
            <a:off x="2999643" y="3269262"/>
            <a:ext cx="839614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 userDrawn="1"/>
        </p:nvSpPr>
        <p:spPr>
          <a:xfrm>
            <a:off x="2999643" y="3783824"/>
            <a:ext cx="839614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 userDrawn="1"/>
        </p:nvSpPr>
        <p:spPr>
          <a:xfrm>
            <a:off x="2999643" y="4298384"/>
            <a:ext cx="839614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 userDrawn="1"/>
        </p:nvSpPr>
        <p:spPr>
          <a:xfrm>
            <a:off x="2999643" y="4806552"/>
            <a:ext cx="839614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 userDrawn="1"/>
        </p:nvSpPr>
        <p:spPr>
          <a:xfrm>
            <a:off x="2999643" y="5321112"/>
            <a:ext cx="839614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 userDrawn="1"/>
        </p:nvGrpSpPr>
        <p:grpSpPr>
          <a:xfrm>
            <a:off x="3971416" y="2338957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 userDrawn="1"/>
        </p:nvSpPr>
        <p:spPr>
          <a:xfrm>
            <a:off x="5232206" y="1731971"/>
            <a:ext cx="839614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 userDrawn="1"/>
        </p:nvSpPr>
        <p:spPr>
          <a:xfrm>
            <a:off x="5232206" y="2246533"/>
            <a:ext cx="839614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 userDrawn="1"/>
        </p:nvSpPr>
        <p:spPr>
          <a:xfrm>
            <a:off x="5225411" y="1330325"/>
            <a:ext cx="154522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 userDrawn="1"/>
        </p:nvSpPr>
        <p:spPr>
          <a:xfrm>
            <a:off x="5232206" y="2761094"/>
            <a:ext cx="839614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 userDrawn="1"/>
        </p:nvSpPr>
        <p:spPr>
          <a:xfrm>
            <a:off x="5232206" y="3275656"/>
            <a:ext cx="839614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 userDrawn="1"/>
        </p:nvSpPr>
        <p:spPr>
          <a:xfrm>
            <a:off x="5232206" y="3790216"/>
            <a:ext cx="839614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 userDrawn="1"/>
        </p:nvSpPr>
        <p:spPr>
          <a:xfrm>
            <a:off x="6203980" y="2852903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 userDrawn="1"/>
        </p:nvSpPr>
        <p:spPr>
          <a:xfrm>
            <a:off x="6203980" y="1830789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 userDrawn="1"/>
        </p:nvSpPr>
        <p:spPr>
          <a:xfrm>
            <a:off x="6203980" y="3363960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 userDrawn="1"/>
        </p:nvSpPr>
        <p:spPr>
          <a:xfrm>
            <a:off x="6203980" y="3875017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 userDrawn="1"/>
        </p:nvSpPr>
        <p:spPr>
          <a:xfrm>
            <a:off x="6203980" y="2341846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 userDrawn="1"/>
        </p:nvSpPr>
        <p:spPr>
          <a:xfrm>
            <a:off x="7170486" y="2670083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 userDrawn="1"/>
        </p:nvSpPr>
        <p:spPr>
          <a:xfrm>
            <a:off x="9170077" y="2670083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 userDrawn="1"/>
        </p:nvSpPr>
        <p:spPr>
          <a:xfrm>
            <a:off x="8028290" y="2757773"/>
            <a:ext cx="1568421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/</a:t>
            </a:r>
            <a:br>
              <a:rPr lang="en-GB" sz="1000"/>
            </a:br>
            <a:r>
              <a:rPr lang="en-GB" sz="1000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 userDrawn="1"/>
        </p:nvSpPr>
        <p:spPr>
          <a:xfrm>
            <a:off x="10100206" y="2869887"/>
            <a:ext cx="1709098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/</a:t>
            </a:r>
            <a:br>
              <a:rPr lang="en-GB" sz="1000"/>
            </a:br>
            <a:r>
              <a:rPr lang="en-GB" sz="1000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 userDrawn="1"/>
        </p:nvSpPr>
        <p:spPr>
          <a:xfrm>
            <a:off x="7146554" y="1298952"/>
            <a:ext cx="4047046" cy="1269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</a:t>
            </a:r>
            <a:r>
              <a:rPr lang="en-GB" sz="1000" b="0" err="1">
                <a:solidFill>
                  <a:sysClr val="windowText" lastClr="000000"/>
                </a:solidFill>
              </a:rPr>
              <a:t>colors</a:t>
            </a:r>
            <a:r>
              <a:rPr lang="en-GB" sz="1000" b="0">
                <a:solidFill>
                  <a:sysClr val="windowText" lastClr="000000"/>
                </a:solidFill>
              </a:rPr>
              <a:t> are applied at both ends of the gradient, at 0% and 100% 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>
            <a:spLocks/>
          </p:cNvSpPr>
          <p:nvPr userDrawn="1"/>
        </p:nvSpPr>
        <p:spPr>
          <a:xfrm>
            <a:off x="5225411" y="4304594"/>
            <a:ext cx="839614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 userDrawn="1"/>
        </p:nvSpPr>
        <p:spPr>
          <a:xfrm>
            <a:off x="6197185" y="4389395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Whit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47E9F40-D028-425F-96B1-C73C59C9C8EF}"/>
              </a:ext>
            </a:extLst>
          </p:cNvPr>
          <p:cNvSpPr txBox="1"/>
          <p:nvPr userDrawn="1"/>
        </p:nvSpPr>
        <p:spPr>
          <a:xfrm>
            <a:off x="7146554" y="3336981"/>
            <a:ext cx="119423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Traffic Light Palett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2E77BBC-829E-4B5B-9C1B-B9C1344A811F}"/>
              </a:ext>
            </a:extLst>
          </p:cNvPr>
          <p:cNvSpPr>
            <a:spLocks/>
          </p:cNvSpPr>
          <p:nvPr userDrawn="1"/>
        </p:nvSpPr>
        <p:spPr>
          <a:xfrm>
            <a:off x="9353776" y="3589581"/>
            <a:ext cx="839614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6053ADE-6CEF-4806-8C0F-B8BEED546A81}"/>
              </a:ext>
            </a:extLst>
          </p:cNvPr>
          <p:cNvSpPr>
            <a:spLocks/>
          </p:cNvSpPr>
          <p:nvPr userDrawn="1"/>
        </p:nvSpPr>
        <p:spPr>
          <a:xfrm>
            <a:off x="8262131" y="3589581"/>
            <a:ext cx="839614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FEC18AD-6921-4293-966A-F31741528B23}"/>
              </a:ext>
            </a:extLst>
          </p:cNvPr>
          <p:cNvSpPr>
            <a:spLocks/>
          </p:cNvSpPr>
          <p:nvPr userDrawn="1"/>
        </p:nvSpPr>
        <p:spPr>
          <a:xfrm>
            <a:off x="7170486" y="3589581"/>
            <a:ext cx="839614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D3C657F-FD1E-40E0-B00F-F92EC3693861}"/>
              </a:ext>
            </a:extLst>
          </p:cNvPr>
          <p:cNvSpPr txBox="1"/>
          <p:nvPr userDrawn="1"/>
        </p:nvSpPr>
        <p:spPr>
          <a:xfrm>
            <a:off x="7146553" y="4285684"/>
            <a:ext cx="4159622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F87E5F4-3A2B-41F8-A4AA-BA7FFC573394}"/>
              </a:ext>
            </a:extLst>
          </p:cNvPr>
          <p:cNvCxnSpPr/>
          <p:nvPr userDrawn="1"/>
        </p:nvCxnSpPr>
        <p:spPr>
          <a:xfrm>
            <a:off x="7170486" y="324260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8639F51-9F8C-4D36-8737-7A3DAC84F1DA}"/>
              </a:ext>
            </a:extLst>
          </p:cNvPr>
          <p:cNvCxnSpPr/>
          <p:nvPr userDrawn="1"/>
        </p:nvCxnSpPr>
        <p:spPr>
          <a:xfrm>
            <a:off x="7170486" y="417664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B8890E6-18C7-479B-B73B-0C731D264307}"/>
              </a:ext>
            </a:extLst>
          </p:cNvPr>
          <p:cNvGrpSpPr/>
          <p:nvPr userDrawn="1"/>
        </p:nvGrpSpPr>
        <p:grpSpPr>
          <a:xfrm>
            <a:off x="7170486" y="5015319"/>
            <a:ext cx="4023114" cy="868052"/>
            <a:chOff x="6942744" y="5227726"/>
            <a:chExt cx="6397168" cy="1380293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D9642345-2D6B-4C6E-A9F2-A02D26D51DDD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54B75BE9-8F9E-40F1-AE85-B929BD14E4F6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403512C6-1015-4893-B421-D2CA83BB28B7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8DF8AA28-67A9-4A84-A80F-52EFDEF62EC4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96ECD3EF-C613-49EC-B955-C33743E8DAF2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CEFF0E69-1303-4A97-A554-2617DBE38F85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D22E2F76-F5F9-4152-8B76-200BB23CF93D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F294A2C6-DAFC-45CD-86AD-3902D99F3B8E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E318800B-9E93-4883-840B-696F82170F32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14443132-A6B3-4990-BA37-9E2D3DE1B105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6C79AFB4-7A51-4309-99F1-4015E9137C5F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E4F02C0-8A76-4F89-8E59-9E7549909C2A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29198175-1C72-4E67-BB92-6595EEDA420A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BB592D94-A7C3-4005-BCCE-3C53AAD9574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859777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Copyright &amp; Notic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812" y="1441"/>
          <a:ext cx="181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12" y="1441"/>
                        <a:ext cx="181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81025" cy="144015"/>
          </a:xfrm>
          <a:prstGeom prst="rect">
            <a:avLst/>
          </a:prstGeom>
          <a:solidFill>
            <a:srgbClr val="F68D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ts val="4255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>
              <a:latin typeface="Arial Regular"/>
              <a:ea typeface="+mj-ea"/>
              <a:sym typeface="Univers for KPMG Cond" panose="020B0606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CE44797-7AF7-4268-B145-FE62C3A2D042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95551" y="5750095"/>
            <a:ext cx="21416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943FE6E-91B7-4C61-BB0E-14862D52BF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5300" y="3702050"/>
            <a:ext cx="6660000" cy="1843088"/>
          </a:xfrm>
          <a:prstGeom prst="rect">
            <a:avLst/>
          </a:prstGeom>
        </p:spPr>
        <p:txBody>
          <a:bodyPr lIns="0" anchor="t"/>
          <a:lstStyle>
            <a:lvl1pPr>
              <a:lnSpc>
                <a:spcPct val="100000"/>
              </a:lnSpc>
              <a:spcAft>
                <a:spcPts val="1200"/>
              </a:spcAft>
              <a:defRPr sz="900" b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9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EBCD2A-20F6-4E9A-934D-BFE84466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300" y="3351965"/>
            <a:ext cx="2411738" cy="119064"/>
          </a:xfrm>
          <a:prstGeom prst="rect">
            <a:avLst/>
          </a:prstGeom>
        </p:spPr>
        <p:txBody>
          <a:bodyPr lIns="0" anchor="ctr"/>
          <a:lstStyle>
            <a:lvl1pPr>
              <a:lnSpc>
                <a:spcPct val="100000"/>
              </a:lnSpc>
              <a:buFontTx/>
              <a:buNone/>
              <a:defRPr sz="12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9835127-C2CF-406D-A11A-084A819712FC}"/>
              </a:ext>
            </a:extLst>
          </p:cNvPr>
          <p:cNvGrpSpPr/>
          <p:nvPr userDrawn="1"/>
        </p:nvGrpSpPr>
        <p:grpSpPr>
          <a:xfrm>
            <a:off x="504764" y="2881529"/>
            <a:ext cx="2023200" cy="367957"/>
            <a:chOff x="998476" y="2881529"/>
            <a:chExt cx="2023200" cy="367957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A349AC5-BED0-4470-905A-2888BA98A789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05E0D9F-61F6-46BC-B190-C5C7BC34407C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27227AE-FD99-470E-B88E-02F8B4B4E89C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01A972E-E7FB-408E-98CB-85A22BF15361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ED8A7867-8B4D-4289-AF9D-CF9E866A9E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8" name="Picture 27" descr="Icon&#10;&#10;Description automatically generated">
              <a:extLst>
                <a:ext uri="{FF2B5EF4-FFF2-40B4-BE49-F238E27FC236}">
                  <a16:creationId xmlns:a16="http://schemas.microsoft.com/office/drawing/2014/main" id="{62A37DFB-5BF2-4523-8C03-CB2908F186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9" name="Picture 28" descr="Logo&#10;&#10;Description automatically generated">
              <a:extLst>
                <a:ext uri="{FF2B5EF4-FFF2-40B4-BE49-F238E27FC236}">
                  <a16:creationId xmlns:a16="http://schemas.microsoft.com/office/drawing/2014/main" id="{8F935987-A7BC-46FE-B347-3A6AC4C044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30" name="Picture 29" descr="Logo&#10;&#10;Description automatically generated">
              <a:extLst>
                <a:ext uri="{FF2B5EF4-FFF2-40B4-BE49-F238E27FC236}">
                  <a16:creationId xmlns:a16="http://schemas.microsoft.com/office/drawing/2014/main" id="{5497EC60-712C-418E-A11B-7B2F2C715A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31" name="Picture 30" descr="Icon&#10;&#10;Description automatically generated">
              <a:extLst>
                <a:ext uri="{FF2B5EF4-FFF2-40B4-BE49-F238E27FC236}">
                  <a16:creationId xmlns:a16="http://schemas.microsoft.com/office/drawing/2014/main" id="{2044B584-FBBE-4D7B-AC3F-178F62D4DB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B7C25D5D-339D-4613-AA25-6A621775CCB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4764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331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484E6626-FD7E-4C63-8D13-D66A8A348C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431800"/>
            <a:ext cx="914400" cy="36834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B30C48B-685A-4627-8230-DBBFCD3E60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6" y="1759937"/>
            <a:ext cx="6042347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83A02BE-49C7-41EC-A224-F228B39F3B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6" y="4752153"/>
            <a:ext cx="6042347" cy="525903"/>
          </a:xfrm>
          <a:ln w="3175">
            <a:noFill/>
            <a:prstDash val="lgDash"/>
          </a:ln>
        </p:spPr>
        <p:txBody>
          <a:bodyPr wrap="square" anchor="t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8BFB1D5-D046-4E06-8AD4-1BE7283AC7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8476" y="5567423"/>
            <a:ext cx="6042347" cy="309502"/>
          </a:xfrm>
          <a:ln w="3175">
            <a:noFill/>
            <a:prstDash val="lgDash"/>
          </a:ln>
        </p:spPr>
        <p:txBody>
          <a:bodyPr wrap="square" anchor="t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Date here</a:t>
            </a:r>
          </a:p>
        </p:txBody>
      </p:sp>
    </p:spTree>
    <p:extLst>
      <p:ext uri="{BB962C8B-B14F-4D97-AF65-F5344CB8AC3E}">
        <p14:creationId xmlns:p14="http://schemas.microsoft.com/office/powerpoint/2010/main" val="10079273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484E6626-FD7E-4C63-8D13-D66A8A348C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431800"/>
            <a:ext cx="914400" cy="36834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B30C48B-685A-4627-8230-DBBFCD3E60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7" y="1759937"/>
            <a:ext cx="4503164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83A02BE-49C7-41EC-A224-F228B39F3B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6" y="4752153"/>
            <a:ext cx="6042347" cy="525903"/>
          </a:xfrm>
          <a:ln w="3175">
            <a:noFill/>
            <a:prstDash val="lgDash"/>
          </a:ln>
        </p:spPr>
        <p:txBody>
          <a:bodyPr wrap="square" anchor="t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8BFB1D5-D046-4E06-8AD4-1BE7283AC7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8476" y="5567423"/>
            <a:ext cx="6042347" cy="309502"/>
          </a:xfrm>
          <a:ln w="3175">
            <a:noFill/>
            <a:prstDash val="lgDash"/>
          </a:ln>
        </p:spPr>
        <p:txBody>
          <a:bodyPr wrap="square" anchor="t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Date here</a:t>
            </a:r>
          </a:p>
        </p:txBody>
      </p:sp>
    </p:spTree>
    <p:extLst>
      <p:ext uri="{BB962C8B-B14F-4D97-AF65-F5344CB8AC3E}">
        <p14:creationId xmlns:p14="http://schemas.microsoft.com/office/powerpoint/2010/main" val="20017287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8DACD19D-CEBD-46E3-946A-916A5CC3ED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7366444 w 12192000"/>
              <a:gd name="connsiteY0" fmla="*/ 976693 h 6858000"/>
              <a:gd name="connsiteX1" fmla="*/ 7366444 w 12192000"/>
              <a:gd name="connsiteY1" fmla="*/ 5887084 h 6858000"/>
              <a:gd name="connsiteX2" fmla="*/ 10777381 w 12192000"/>
              <a:gd name="connsiteY2" fmla="*/ 5887084 h 6858000"/>
              <a:gd name="connsiteX3" fmla="*/ 10777381 w 12192000"/>
              <a:gd name="connsiteY3" fmla="*/ 97669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366444" y="976693"/>
                </a:moveTo>
                <a:lnTo>
                  <a:pt x="7366444" y="5887084"/>
                </a:lnTo>
                <a:lnTo>
                  <a:pt x="10777381" y="5887084"/>
                </a:lnTo>
                <a:lnTo>
                  <a:pt x="10777381" y="97669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4">
                  <a:alpha val="58000"/>
                </a:schemeClr>
              </a:gs>
              <a:gs pos="28000">
                <a:srgbClr val="5241ED"/>
              </a:gs>
              <a:gs pos="0">
                <a:schemeClr val="accent5">
                  <a:alpha val="6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610" tIns="54610" rIns="54610" bIns="54610" rtlCol="0" anchor="ctr">
            <a:noAutofit/>
          </a:bodyPr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84E6626-FD7E-4C63-8D13-D66A8A348C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431800"/>
            <a:ext cx="914400" cy="36834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B30C48B-685A-4627-8230-DBBFCD3E60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6" y="1759937"/>
            <a:ext cx="6042347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83A02BE-49C7-41EC-A224-F228B39F3B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6" y="4752153"/>
            <a:ext cx="6042347" cy="525903"/>
          </a:xfrm>
          <a:ln w="3175">
            <a:noFill/>
            <a:prstDash val="lgDash"/>
          </a:ln>
        </p:spPr>
        <p:txBody>
          <a:bodyPr wrap="square" anchor="t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8BFB1D5-D046-4E06-8AD4-1BE7283AC7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8476" y="5567423"/>
            <a:ext cx="6042347" cy="309502"/>
          </a:xfrm>
          <a:ln w="3175">
            <a:noFill/>
            <a:prstDash val="lgDash"/>
          </a:ln>
        </p:spPr>
        <p:txBody>
          <a:bodyPr wrap="square" anchor="t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Date here</a:t>
            </a:r>
          </a:p>
        </p:txBody>
      </p:sp>
    </p:spTree>
    <p:extLst>
      <p:ext uri="{BB962C8B-B14F-4D97-AF65-F5344CB8AC3E}">
        <p14:creationId xmlns:p14="http://schemas.microsoft.com/office/powerpoint/2010/main" val="9266043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CEBAACB-A12D-021A-A65B-4D3526350B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12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000"/>
            </a:srgbClr>
          </a:solidFill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13800" y="6295536"/>
            <a:ext cx="202019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4 KPMG LLP, a Delaware limited liability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raphic 8">
            <a:extLst>
              <a:ext uri="{FF2B5EF4-FFF2-40B4-BE49-F238E27FC236}">
                <a16:creationId xmlns:a16="http://schemas.microsoft.com/office/drawing/2014/main" id="{67E4BFF9-F85A-4638-ADE5-87FB48B6ED46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17701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CEBAACB-A12D-021A-A65B-4D3526350B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12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0000"/>
            </a:srgbClr>
          </a:solidFill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2A57F67-1175-4FFB-3A83-81AE5CBB83AF}"/>
              </a:ext>
            </a:extLst>
          </p:cNvPr>
          <p:cNvSpPr/>
          <p:nvPr userDrawn="1"/>
        </p:nvSpPr>
        <p:spPr>
          <a:xfrm>
            <a:off x="0" y="3866"/>
            <a:ext cx="3124200" cy="5876925"/>
          </a:xfrm>
          <a:prstGeom prst="rect">
            <a:avLst/>
          </a:prstGeom>
          <a:gradFill>
            <a:gsLst>
              <a:gs pos="100000">
                <a:schemeClr val="accent4">
                  <a:lumMod val="40000"/>
                  <a:lumOff val="60000"/>
                </a:schemeClr>
              </a:gs>
              <a:gs pos="0">
                <a:schemeClr val="accent4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81384" y="431800"/>
            <a:ext cx="7812215" cy="53340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13800" y="6295536"/>
            <a:ext cx="202019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4 KPMG LLP, a Delaware limited liability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raphic 8">
            <a:extLst>
              <a:ext uri="{FF2B5EF4-FFF2-40B4-BE49-F238E27FC236}">
                <a16:creationId xmlns:a16="http://schemas.microsoft.com/office/drawing/2014/main" id="{67E4BFF9-F85A-4638-ADE5-87FB48B6ED46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5307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sky with stars&#10;&#10;Description automatically generated">
            <a:extLst>
              <a:ext uri="{FF2B5EF4-FFF2-40B4-BE49-F238E27FC236}">
                <a16:creationId xmlns:a16="http://schemas.microsoft.com/office/drawing/2014/main" id="{6A2BC1BD-5E2E-50F7-001A-9C9EFB2E80C8}"/>
              </a:ext>
            </a:extLst>
          </p:cNvPr>
          <p:cNvPicPr>
            <a:picLocks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1" r="175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13800" y="6295536"/>
            <a:ext cx="202019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4 KPMG LLP, a Delaware limited liability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raphic 8">
            <a:extLst>
              <a:ext uri="{FF2B5EF4-FFF2-40B4-BE49-F238E27FC236}">
                <a16:creationId xmlns:a16="http://schemas.microsoft.com/office/drawing/2014/main" id="{67E4BFF9-F85A-4638-ADE5-87FB48B6ED46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0504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8400" y="431800"/>
            <a:ext cx="1019520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201" y="1330126"/>
            <a:ext cx="10194470" cy="4546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41"/>
            </p:custDataLst>
          </p:nvPr>
        </p:nvSpPr>
        <p:spPr>
          <a:xfrm>
            <a:off x="8967794" y="6295536"/>
            <a:ext cx="18662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8" name="TextBox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4 KPMG LLP, a Delaware limited liability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24B3B3-3138-44BB-8DDD-6BDCEF24DEDC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Graphic 8">
            <a:extLst>
              <a:ext uri="{FF2B5EF4-FFF2-40B4-BE49-F238E27FC236}">
                <a16:creationId xmlns:a16="http://schemas.microsoft.com/office/drawing/2014/main" id="{9CAB9EC7-F5E0-4684-A576-ECACF26F9022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tx2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7431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lang="en-GB" sz="3200" b="1" kern="1200" dirty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5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15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5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  <p15:guide id="7" orient="horz" pos="3702">
          <p15:clr>
            <a:srgbClr val="F26B43"/>
          </p15:clr>
        </p15:guide>
        <p15:guide id="8" orient="horz" pos="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18" Type="http://schemas.openxmlformats.org/officeDocument/2006/relationships/image" Target="../media/image34.png"/><Relationship Id="rId3" Type="http://schemas.openxmlformats.org/officeDocument/2006/relationships/image" Target="../media/image19.svg"/><Relationship Id="rId21" Type="http://schemas.openxmlformats.org/officeDocument/2006/relationships/image" Target="../media/image37.svg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17" Type="http://schemas.openxmlformats.org/officeDocument/2006/relationships/image" Target="../media/image33.svg"/><Relationship Id="rId2" Type="http://schemas.openxmlformats.org/officeDocument/2006/relationships/image" Target="../media/image18.png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svg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19" Type="http://schemas.openxmlformats.org/officeDocument/2006/relationships/image" Target="../media/image35.svg"/><Relationship Id="rId4" Type="http://schemas.openxmlformats.org/officeDocument/2006/relationships/image" Target="../media/image20.png"/><Relationship Id="rId9" Type="http://schemas.openxmlformats.org/officeDocument/2006/relationships/image" Target="../media/image25.svg"/><Relationship Id="rId1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252D98-C23D-4C32-824A-BFEEDCE529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1453721"/>
            <a:ext cx="5252400" cy="2367199"/>
          </a:xfrm>
        </p:spPr>
        <p:txBody>
          <a:bodyPr/>
          <a:lstStyle/>
          <a:p>
            <a:r>
              <a:rPr lang="en-GB" dirty="0"/>
              <a:t>KPMG’s Trusted AI Framework</a:t>
            </a:r>
          </a:p>
        </p:txBody>
      </p:sp>
    </p:spTree>
    <p:extLst>
      <p:ext uri="{BB962C8B-B14F-4D97-AF65-F5344CB8AC3E}">
        <p14:creationId xmlns:p14="http://schemas.microsoft.com/office/powerpoint/2010/main" val="2808550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F71E571-93E5-3D24-0B84-DE9C5A520EC3}"/>
              </a:ext>
            </a:extLst>
          </p:cNvPr>
          <p:cNvSpPr/>
          <p:nvPr/>
        </p:nvSpPr>
        <p:spPr>
          <a:xfrm>
            <a:off x="3358619" y="965200"/>
            <a:ext cx="7834980" cy="4911725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CF1609-A5A0-F8E6-0E6C-1590B6FD8C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PMG Trusted AI 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694FA06-9A61-89A7-212B-0212A8A90A50}"/>
              </a:ext>
            </a:extLst>
          </p:cNvPr>
          <p:cNvSpPr/>
          <p:nvPr/>
        </p:nvSpPr>
        <p:spPr>
          <a:xfrm>
            <a:off x="995363" y="965201"/>
            <a:ext cx="1865486" cy="445452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t" anchorCtr="0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understand trustworthy and ethical AI is a complex business, regulatory, and technical challenge, and we are committed to helping clients put it into practice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PMG Trusted AI is our strategic approach and framework to designing, building, deploying and using AI solutions in a responsible and ethical manner so we can accelerate value with confidence.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B7CAF1B-DCFF-AD2B-364E-624A6A2462DA}"/>
              </a:ext>
            </a:extLst>
          </p:cNvPr>
          <p:cNvGrpSpPr/>
          <p:nvPr/>
        </p:nvGrpSpPr>
        <p:grpSpPr>
          <a:xfrm>
            <a:off x="7598526" y="1129390"/>
            <a:ext cx="3393323" cy="4579424"/>
            <a:chOff x="7893802" y="1081032"/>
            <a:chExt cx="3156913" cy="4579424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972B4969-3FB4-1296-03DA-D6A6826F3A40}"/>
                </a:ext>
              </a:extLst>
            </p:cNvPr>
            <p:cNvSpPr/>
            <p:nvPr/>
          </p:nvSpPr>
          <p:spPr>
            <a:xfrm>
              <a:off x="7893802" y="1081032"/>
              <a:ext cx="3156913" cy="138349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" tIns="54610" rIns="54864" bIns="5461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Values-driven</a:t>
              </a:r>
              <a:r>
                <a: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 implement AI as guided by our Values. They are our differentiator and shape a culture that is open, inclusive, and operates to the highest ethical standards.</a:t>
              </a: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EEAE48C8-D448-E324-5E48-C053DD77444F}"/>
                </a:ext>
              </a:extLst>
            </p:cNvPr>
            <p:cNvSpPr/>
            <p:nvPr/>
          </p:nvSpPr>
          <p:spPr>
            <a:xfrm>
              <a:off x="7893802" y="2678999"/>
              <a:ext cx="3156913" cy="138349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" tIns="54610" rIns="54864" bIns="5461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Human-centric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 are embracing AI to empower and augment human capabilities—to unleash creativity and improve productivity in a way that allows people to reimagine how they spend their days.</a:t>
              </a: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4DE9EA42-5F95-3020-AE75-5B1977DFF9C9}"/>
                </a:ext>
              </a:extLst>
            </p:cNvPr>
            <p:cNvSpPr/>
            <p:nvPr/>
          </p:nvSpPr>
          <p:spPr>
            <a:xfrm>
              <a:off x="7893802" y="4276966"/>
              <a:ext cx="3156913" cy="138349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" tIns="54610" rIns="54864" bIns="5461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Trustworth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 will strive to ensure our data acquisition, governance, and usage practices uphold ethical standards and comply with applicable privacy and data protection regulations, as well as any confidentiality requirements.</a:t>
              </a:r>
            </a:p>
          </p:txBody>
        </p:sp>
      </p:grpSp>
      <p:pic>
        <p:nvPicPr>
          <p:cNvPr id="4" name="Picture 3" descr="A circular diagram of a brain&#10;&#10;Description automatically generated with medium confidence">
            <a:extLst>
              <a:ext uri="{FF2B5EF4-FFF2-40B4-BE49-F238E27FC236}">
                <a16:creationId xmlns:a16="http://schemas.microsoft.com/office/drawing/2014/main" id="{E2E0046F-8C68-A977-3DA4-037BE093023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7669" y="1272222"/>
            <a:ext cx="4174347" cy="429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230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165D7F-4118-1772-B170-F90C4D364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KPMG Trusted Al ethical pillar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58A4AB7-3B04-B27C-EE42-77D292C0EDC5}"/>
              </a:ext>
            </a:extLst>
          </p:cNvPr>
          <p:cNvSpPr txBox="1"/>
          <p:nvPr/>
        </p:nvSpPr>
        <p:spPr>
          <a:xfrm>
            <a:off x="995362" y="1105348"/>
            <a:ext cx="10195199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we aim to deliver our commit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 KPMG, our approach to trusted Al rests on ten ethical pillars across the Al lifecycle: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1739B5A-4BE3-0F22-7BE3-34A16F6C3571}"/>
              </a:ext>
            </a:extLst>
          </p:cNvPr>
          <p:cNvGrpSpPr/>
          <p:nvPr/>
        </p:nvGrpSpPr>
        <p:grpSpPr>
          <a:xfrm>
            <a:off x="1008656" y="1687671"/>
            <a:ext cx="10181905" cy="584775"/>
            <a:chOff x="1008656" y="1687671"/>
            <a:chExt cx="10181905" cy="584775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D1D4B2E6-4628-AC16-E3B1-16807AB35995}"/>
                </a:ext>
              </a:extLst>
            </p:cNvPr>
            <p:cNvSpPr/>
            <p:nvPr/>
          </p:nvSpPr>
          <p:spPr>
            <a:xfrm>
              <a:off x="1593123" y="1687671"/>
              <a:ext cx="4206240" cy="584775"/>
            </a:xfrm>
            <a:custGeom>
              <a:avLst/>
              <a:gdLst>
                <a:gd name="connsiteX0" fmla="*/ 0 w 2491740"/>
                <a:gd name="connsiteY0" fmla="*/ 548640 h 548639"/>
                <a:gd name="connsiteX1" fmla="*/ 2491740 w 2491740"/>
                <a:gd name="connsiteY1" fmla="*/ 548640 h 548639"/>
                <a:gd name="connsiteX2" fmla="*/ 2491740 w 2491740"/>
                <a:gd name="connsiteY2" fmla="*/ 0 h 548639"/>
                <a:gd name="connsiteX3" fmla="*/ 0 w 2491740"/>
                <a:gd name="connsiteY3" fmla="*/ 0 h 548639"/>
                <a:gd name="connsiteX4" fmla="*/ 0 w 2491740"/>
                <a:gd name="connsiteY4" fmla="*/ 548640 h 548639"/>
                <a:gd name="connsiteX5" fmla="*/ 0 w 2491740"/>
                <a:gd name="connsiteY5" fmla="*/ 548640 h 54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1740" h="548639">
                  <a:moveTo>
                    <a:pt x="0" y="548640"/>
                  </a:moveTo>
                  <a:lnTo>
                    <a:pt x="2491740" y="548640"/>
                  </a:lnTo>
                  <a:lnTo>
                    <a:pt x="2491740" y="0"/>
                  </a:lnTo>
                  <a:lnTo>
                    <a:pt x="0" y="0"/>
                  </a:lnTo>
                  <a:lnTo>
                    <a:pt x="0" y="548640"/>
                  </a:lnTo>
                  <a:lnTo>
                    <a:pt x="0" y="548640"/>
                  </a:lnTo>
                  <a:close/>
                </a:path>
              </a:pathLst>
            </a:custGeom>
            <a:noFill/>
            <a:ln w="0" cap="flat">
              <a:noFill/>
              <a:prstDash val="solid"/>
              <a:miter/>
            </a:ln>
          </p:spPr>
          <p:txBody>
            <a:bodyPr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B8F5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Fairnes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 solutions should be designed to reduce or eliminate bias against individuals, communities, and groups.</a:t>
              </a: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EC118735-5340-2E54-3339-61D30B816C73}"/>
                </a:ext>
              </a:extLst>
            </p:cNvPr>
            <p:cNvSpPr/>
            <p:nvPr/>
          </p:nvSpPr>
          <p:spPr>
            <a:xfrm>
              <a:off x="6984321" y="1687671"/>
              <a:ext cx="4206240" cy="584775"/>
            </a:xfrm>
            <a:custGeom>
              <a:avLst/>
              <a:gdLst>
                <a:gd name="connsiteX0" fmla="*/ 2491740 w 2491740"/>
                <a:gd name="connsiteY0" fmla="*/ 548640 h 548639"/>
                <a:gd name="connsiteX1" fmla="*/ 0 w 2491740"/>
                <a:gd name="connsiteY1" fmla="*/ 548640 h 548639"/>
                <a:gd name="connsiteX2" fmla="*/ 0 w 2491740"/>
                <a:gd name="connsiteY2" fmla="*/ 0 h 548639"/>
                <a:gd name="connsiteX3" fmla="*/ 2491740 w 2491740"/>
                <a:gd name="connsiteY3" fmla="*/ 0 h 548639"/>
                <a:gd name="connsiteX4" fmla="*/ 2491740 w 2491740"/>
                <a:gd name="connsiteY4" fmla="*/ 548640 h 548639"/>
                <a:gd name="connsiteX5" fmla="*/ 2491740 w 2491740"/>
                <a:gd name="connsiteY5" fmla="*/ 548640 h 54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1740" h="548639">
                  <a:moveTo>
                    <a:pt x="2491740" y="548640"/>
                  </a:moveTo>
                  <a:lnTo>
                    <a:pt x="0" y="548640"/>
                  </a:lnTo>
                  <a:lnTo>
                    <a:pt x="0" y="0"/>
                  </a:lnTo>
                  <a:lnTo>
                    <a:pt x="2491740" y="0"/>
                  </a:lnTo>
                  <a:lnTo>
                    <a:pt x="2491740" y="548640"/>
                  </a:lnTo>
                  <a:lnTo>
                    <a:pt x="2491740" y="548640"/>
                  </a:lnTo>
                  <a:close/>
                </a:path>
              </a:pathLst>
            </a:custGeom>
            <a:noFill/>
            <a:ln w="0" cap="flat">
              <a:noFill/>
              <a:prstDash val="solid"/>
              <a:miter/>
            </a:ln>
          </p:spPr>
          <p:txBody>
            <a:bodyPr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B8F5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Reliability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 solutions should consistently operate in accordance with their intended purpose and scope and at the desired level of precision. </a:t>
              </a:r>
            </a:p>
          </p:txBody>
        </p:sp>
        <p:pic>
          <p:nvPicPr>
            <p:cNvPr id="112" name="Graphic 111">
              <a:extLst>
                <a:ext uri="{FF2B5EF4-FFF2-40B4-BE49-F238E27FC236}">
                  <a16:creationId xmlns:a16="http://schemas.microsoft.com/office/drawing/2014/main" id="{58E6A74C-25A3-C0CA-964A-F26DCA3355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08656" y="1830230"/>
              <a:ext cx="357283" cy="299657"/>
            </a:xfrm>
            <a:prstGeom prst="rect">
              <a:avLst/>
            </a:prstGeom>
          </p:spPr>
        </p:pic>
        <p:pic>
          <p:nvPicPr>
            <p:cNvPr id="117" name="Graphic 116">
              <a:extLst>
                <a:ext uri="{FF2B5EF4-FFF2-40B4-BE49-F238E27FC236}">
                  <a16:creationId xmlns:a16="http://schemas.microsoft.com/office/drawing/2014/main" id="{C81FAB27-263D-CC3F-E0FF-1B77D5F721E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367488" y="1808908"/>
              <a:ext cx="329623" cy="3423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63414B1-DE17-5874-C341-6BE297C5F69A}"/>
              </a:ext>
            </a:extLst>
          </p:cNvPr>
          <p:cNvGrpSpPr/>
          <p:nvPr/>
        </p:nvGrpSpPr>
        <p:grpSpPr>
          <a:xfrm>
            <a:off x="1028825" y="2441235"/>
            <a:ext cx="10161736" cy="730969"/>
            <a:chOff x="1028825" y="2483361"/>
            <a:chExt cx="10161736" cy="730969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F17ABA2-1E4E-353C-1F5D-46FD24BBAEB3}"/>
                </a:ext>
              </a:extLst>
            </p:cNvPr>
            <p:cNvSpPr/>
            <p:nvPr/>
          </p:nvSpPr>
          <p:spPr>
            <a:xfrm>
              <a:off x="1593123" y="2483361"/>
              <a:ext cx="4206240" cy="730969"/>
            </a:xfrm>
            <a:custGeom>
              <a:avLst/>
              <a:gdLst>
                <a:gd name="connsiteX0" fmla="*/ 0 w 2491740"/>
                <a:gd name="connsiteY0" fmla="*/ 548640 h 548639"/>
                <a:gd name="connsiteX1" fmla="*/ 2491740 w 2491740"/>
                <a:gd name="connsiteY1" fmla="*/ 548640 h 548639"/>
                <a:gd name="connsiteX2" fmla="*/ 2491740 w 2491740"/>
                <a:gd name="connsiteY2" fmla="*/ 0 h 548639"/>
                <a:gd name="connsiteX3" fmla="*/ 0 w 2491740"/>
                <a:gd name="connsiteY3" fmla="*/ 0 h 548639"/>
                <a:gd name="connsiteX4" fmla="*/ 0 w 2491740"/>
                <a:gd name="connsiteY4" fmla="*/ 548640 h 548639"/>
                <a:gd name="connsiteX5" fmla="*/ 0 w 2491740"/>
                <a:gd name="connsiteY5" fmla="*/ 548640 h 54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1740" h="548639">
                  <a:moveTo>
                    <a:pt x="0" y="548640"/>
                  </a:moveTo>
                  <a:lnTo>
                    <a:pt x="2491740" y="548640"/>
                  </a:lnTo>
                  <a:lnTo>
                    <a:pt x="2491740" y="0"/>
                  </a:lnTo>
                  <a:lnTo>
                    <a:pt x="0" y="0"/>
                  </a:lnTo>
                  <a:lnTo>
                    <a:pt x="0" y="548640"/>
                  </a:lnTo>
                  <a:lnTo>
                    <a:pt x="0" y="548640"/>
                  </a:lnTo>
                  <a:close/>
                </a:path>
              </a:pathLst>
            </a:custGeom>
            <a:noFill/>
            <a:ln w="0" cap="flat">
              <a:noFill/>
              <a:prstDash val="solid"/>
              <a:miter/>
            </a:ln>
          </p:spPr>
          <p:txBody>
            <a:bodyPr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B8F5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Transparenc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 solutions should include responsible disclosure to provide stakeholders with a clear understanding of what is happening in each solution across the Al lifecycle. </a:t>
              </a: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690B102D-1461-5606-45F7-D9F496FF505E}"/>
                </a:ext>
              </a:extLst>
            </p:cNvPr>
            <p:cNvSpPr/>
            <p:nvPr/>
          </p:nvSpPr>
          <p:spPr>
            <a:xfrm>
              <a:off x="6984321" y="2556458"/>
              <a:ext cx="4206240" cy="584775"/>
            </a:xfrm>
            <a:custGeom>
              <a:avLst/>
              <a:gdLst>
                <a:gd name="connsiteX0" fmla="*/ 2491740 w 2491740"/>
                <a:gd name="connsiteY0" fmla="*/ 548640 h 548639"/>
                <a:gd name="connsiteX1" fmla="*/ 0 w 2491740"/>
                <a:gd name="connsiteY1" fmla="*/ 548640 h 548639"/>
                <a:gd name="connsiteX2" fmla="*/ 0 w 2491740"/>
                <a:gd name="connsiteY2" fmla="*/ 0 h 548639"/>
                <a:gd name="connsiteX3" fmla="*/ 2491740 w 2491740"/>
                <a:gd name="connsiteY3" fmla="*/ 0 h 548639"/>
                <a:gd name="connsiteX4" fmla="*/ 2491740 w 2491740"/>
                <a:gd name="connsiteY4" fmla="*/ 548640 h 548639"/>
                <a:gd name="connsiteX5" fmla="*/ 2491740 w 2491740"/>
                <a:gd name="connsiteY5" fmla="*/ 548640 h 54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1740" h="548639">
                  <a:moveTo>
                    <a:pt x="2491740" y="548640"/>
                  </a:moveTo>
                  <a:lnTo>
                    <a:pt x="0" y="548640"/>
                  </a:lnTo>
                  <a:lnTo>
                    <a:pt x="0" y="0"/>
                  </a:lnTo>
                  <a:lnTo>
                    <a:pt x="2491740" y="0"/>
                  </a:lnTo>
                  <a:lnTo>
                    <a:pt x="2491740" y="548640"/>
                  </a:lnTo>
                  <a:lnTo>
                    <a:pt x="2491740" y="548640"/>
                  </a:lnTo>
                  <a:close/>
                </a:path>
              </a:pathLst>
            </a:custGeom>
            <a:noFill/>
            <a:ln w="0" cap="flat">
              <a:noFill/>
              <a:prstDash val="solid"/>
              <a:miter/>
            </a:ln>
          </p:spPr>
          <p:txBody>
            <a:bodyPr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B8F5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Security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bust and resilient practices should be implemented to safeguard Al solutions against bad actors, misinformation, or adverse events. </a:t>
              </a:r>
            </a:p>
          </p:txBody>
        </p:sp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1DBB889A-92F4-3B72-11A7-ECCA9BBF12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28825" y="2665017"/>
              <a:ext cx="316945" cy="367656"/>
            </a:xfrm>
            <a:prstGeom prst="rect">
              <a:avLst/>
            </a:prstGeom>
          </p:spPr>
        </p:pic>
        <p:pic>
          <p:nvPicPr>
            <p:cNvPr id="118" name="Graphic 117">
              <a:extLst>
                <a:ext uri="{FF2B5EF4-FFF2-40B4-BE49-F238E27FC236}">
                  <a16:creationId xmlns:a16="http://schemas.microsoft.com/office/drawing/2014/main" id="{BC6C98E9-3515-AC13-3AE2-D3435D221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392843" y="2652340"/>
              <a:ext cx="278912" cy="393011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140EBE3-60F4-FDBE-41AC-073A84FCEFD2}"/>
              </a:ext>
            </a:extLst>
          </p:cNvPr>
          <p:cNvGrpSpPr/>
          <p:nvPr/>
        </p:nvGrpSpPr>
        <p:grpSpPr>
          <a:xfrm>
            <a:off x="1041503" y="3340992"/>
            <a:ext cx="10149058" cy="782674"/>
            <a:chOff x="1041503" y="3378783"/>
            <a:chExt cx="10149058" cy="782674"/>
          </a:xfrm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C5AAE97A-7CC9-F8E0-C47B-6464DE524FA0}"/>
                </a:ext>
              </a:extLst>
            </p:cNvPr>
            <p:cNvSpPr/>
            <p:nvPr/>
          </p:nvSpPr>
          <p:spPr>
            <a:xfrm>
              <a:off x="1593123" y="3378783"/>
              <a:ext cx="4206240" cy="782674"/>
            </a:xfrm>
            <a:custGeom>
              <a:avLst/>
              <a:gdLst>
                <a:gd name="connsiteX0" fmla="*/ 0 w 2491740"/>
                <a:gd name="connsiteY0" fmla="*/ 548640 h 548639"/>
                <a:gd name="connsiteX1" fmla="*/ 2491740 w 2491740"/>
                <a:gd name="connsiteY1" fmla="*/ 548640 h 548639"/>
                <a:gd name="connsiteX2" fmla="*/ 2491740 w 2491740"/>
                <a:gd name="connsiteY2" fmla="*/ 0 h 548639"/>
                <a:gd name="connsiteX3" fmla="*/ 0 w 2491740"/>
                <a:gd name="connsiteY3" fmla="*/ 0 h 548639"/>
                <a:gd name="connsiteX4" fmla="*/ 0 w 2491740"/>
                <a:gd name="connsiteY4" fmla="*/ 548640 h 548639"/>
                <a:gd name="connsiteX5" fmla="*/ 0 w 2491740"/>
                <a:gd name="connsiteY5" fmla="*/ 548640 h 54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1740" h="548639">
                  <a:moveTo>
                    <a:pt x="0" y="548640"/>
                  </a:moveTo>
                  <a:lnTo>
                    <a:pt x="2491740" y="548640"/>
                  </a:lnTo>
                  <a:lnTo>
                    <a:pt x="2491740" y="0"/>
                  </a:lnTo>
                  <a:lnTo>
                    <a:pt x="0" y="0"/>
                  </a:lnTo>
                  <a:lnTo>
                    <a:pt x="0" y="548640"/>
                  </a:lnTo>
                  <a:lnTo>
                    <a:pt x="0" y="548640"/>
                  </a:lnTo>
                  <a:close/>
                </a:path>
              </a:pathLst>
            </a:custGeom>
            <a:noFill/>
            <a:ln w="0" cap="flat">
              <a:noFill/>
              <a:prstDash val="solid"/>
              <a:miter/>
            </a:ln>
          </p:spPr>
          <p:txBody>
            <a:bodyPr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00B8F5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Explainability</a:t>
              </a: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B8F5">
                    <a:lumMod val="40000"/>
                    <a:lumOff val="60000"/>
                  </a:srgbClr>
                </a:solidFill>
                <a:effectLst/>
                <a:uLnTx/>
                <a:uFillTx/>
                <a:latin typeface="KPMG Bold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 solutions should be developed and delivered in a way that answers the questions of how and why a conclusion was drawn from the solution. </a:t>
              </a: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A3DA1C68-6A5E-A3B0-1F1E-86D3528FD049}"/>
                </a:ext>
              </a:extLst>
            </p:cNvPr>
            <p:cNvSpPr/>
            <p:nvPr/>
          </p:nvSpPr>
          <p:spPr>
            <a:xfrm>
              <a:off x="6984321" y="3477733"/>
              <a:ext cx="4206240" cy="584775"/>
            </a:xfrm>
            <a:custGeom>
              <a:avLst/>
              <a:gdLst>
                <a:gd name="connsiteX0" fmla="*/ 2491740 w 2491740"/>
                <a:gd name="connsiteY0" fmla="*/ 548640 h 548639"/>
                <a:gd name="connsiteX1" fmla="*/ 0 w 2491740"/>
                <a:gd name="connsiteY1" fmla="*/ 548640 h 548639"/>
                <a:gd name="connsiteX2" fmla="*/ 0 w 2491740"/>
                <a:gd name="connsiteY2" fmla="*/ 0 h 548639"/>
                <a:gd name="connsiteX3" fmla="*/ 2491740 w 2491740"/>
                <a:gd name="connsiteY3" fmla="*/ 0 h 548639"/>
                <a:gd name="connsiteX4" fmla="*/ 2491740 w 2491740"/>
                <a:gd name="connsiteY4" fmla="*/ 548640 h 548639"/>
                <a:gd name="connsiteX5" fmla="*/ 2491740 w 2491740"/>
                <a:gd name="connsiteY5" fmla="*/ 548640 h 548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1740" h="548639">
                  <a:moveTo>
                    <a:pt x="2491740" y="548640"/>
                  </a:moveTo>
                  <a:lnTo>
                    <a:pt x="0" y="548640"/>
                  </a:lnTo>
                  <a:lnTo>
                    <a:pt x="0" y="0"/>
                  </a:lnTo>
                  <a:lnTo>
                    <a:pt x="2491740" y="0"/>
                  </a:lnTo>
                  <a:lnTo>
                    <a:pt x="2491740" y="548640"/>
                  </a:lnTo>
                  <a:lnTo>
                    <a:pt x="2491740" y="548640"/>
                  </a:lnTo>
                  <a:close/>
                </a:path>
              </a:pathLst>
            </a:custGeom>
            <a:noFill/>
            <a:ln w="0" cap="flat">
              <a:noFill/>
              <a:prstDash val="solid"/>
              <a:miter/>
            </a:ln>
          </p:spPr>
          <p:txBody>
            <a:bodyPr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B8F5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Safety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 solutions should be designed and implemented to safeguard against harm to people, businesses, and property </a:t>
              </a:r>
            </a:p>
          </p:txBody>
        </p:sp>
        <p:pic>
          <p:nvPicPr>
            <p:cNvPr id="114" name="Graphic 113">
              <a:extLst>
                <a:ext uri="{FF2B5EF4-FFF2-40B4-BE49-F238E27FC236}">
                  <a16:creationId xmlns:a16="http://schemas.microsoft.com/office/drawing/2014/main" id="{1BBBF8ED-36D9-9D0A-D3AF-8199250769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41503" y="3624326"/>
              <a:ext cx="291589" cy="291589"/>
            </a:xfrm>
            <a:prstGeom prst="rect">
              <a:avLst/>
            </a:prstGeom>
          </p:spPr>
        </p:pic>
        <p:pic>
          <p:nvPicPr>
            <p:cNvPr id="119" name="Graphic 118">
              <a:extLst>
                <a:ext uri="{FF2B5EF4-FFF2-40B4-BE49-F238E27FC236}">
                  <a16:creationId xmlns:a16="http://schemas.microsoft.com/office/drawing/2014/main" id="{908C39D3-B24B-F391-6317-94FB026BA4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399182" y="3598970"/>
              <a:ext cx="266234" cy="342300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B3E840A-FC99-12F8-4EFE-006C897532A6}"/>
              </a:ext>
            </a:extLst>
          </p:cNvPr>
          <p:cNvGrpSpPr/>
          <p:nvPr/>
        </p:nvGrpSpPr>
        <p:grpSpPr>
          <a:xfrm>
            <a:off x="1022486" y="4292454"/>
            <a:ext cx="10168075" cy="782675"/>
            <a:chOff x="1022486" y="4298424"/>
            <a:chExt cx="10168075" cy="782675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0F71D0CC-AE8E-007E-ECFE-DF7AE6C90AF8}"/>
                </a:ext>
              </a:extLst>
            </p:cNvPr>
            <p:cNvSpPr/>
            <p:nvPr/>
          </p:nvSpPr>
          <p:spPr>
            <a:xfrm>
              <a:off x="1593123" y="4298424"/>
              <a:ext cx="4206240" cy="782675"/>
            </a:xfrm>
            <a:custGeom>
              <a:avLst/>
              <a:gdLst>
                <a:gd name="connsiteX0" fmla="*/ 0 w 2491740"/>
                <a:gd name="connsiteY0" fmla="*/ 548640 h 548640"/>
                <a:gd name="connsiteX1" fmla="*/ 2491740 w 2491740"/>
                <a:gd name="connsiteY1" fmla="*/ 548640 h 548640"/>
                <a:gd name="connsiteX2" fmla="*/ 2491740 w 2491740"/>
                <a:gd name="connsiteY2" fmla="*/ 0 h 548640"/>
                <a:gd name="connsiteX3" fmla="*/ 0 w 2491740"/>
                <a:gd name="connsiteY3" fmla="*/ 0 h 548640"/>
                <a:gd name="connsiteX4" fmla="*/ 0 w 2491740"/>
                <a:gd name="connsiteY4" fmla="*/ 548640 h 548640"/>
                <a:gd name="connsiteX5" fmla="*/ 0 w 2491740"/>
                <a:gd name="connsiteY5" fmla="*/ 548640 h 54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1740" h="548640">
                  <a:moveTo>
                    <a:pt x="0" y="548640"/>
                  </a:moveTo>
                  <a:lnTo>
                    <a:pt x="2491740" y="548640"/>
                  </a:lnTo>
                  <a:lnTo>
                    <a:pt x="2491740" y="0"/>
                  </a:lnTo>
                  <a:lnTo>
                    <a:pt x="0" y="0"/>
                  </a:lnTo>
                  <a:lnTo>
                    <a:pt x="0" y="548640"/>
                  </a:lnTo>
                  <a:lnTo>
                    <a:pt x="0" y="548640"/>
                  </a:lnTo>
                  <a:close/>
                </a:path>
              </a:pathLst>
            </a:custGeom>
            <a:noFill/>
            <a:ln w="0" cap="flat">
              <a:noFill/>
              <a:prstDash val="solid"/>
              <a:miter/>
            </a:ln>
          </p:spPr>
          <p:txBody>
            <a:bodyPr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B8F5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Accountabili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uman oversight and responsibility should be embedded across the Al lifecycle to manage risk and comply with applicable laws and regulations. </a:t>
              </a: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F2615764-9BDE-FE87-12AA-06471E18CC7D}"/>
                </a:ext>
              </a:extLst>
            </p:cNvPr>
            <p:cNvSpPr/>
            <p:nvPr/>
          </p:nvSpPr>
          <p:spPr>
            <a:xfrm>
              <a:off x="6984321" y="4397374"/>
              <a:ext cx="4206240" cy="584775"/>
            </a:xfrm>
            <a:custGeom>
              <a:avLst/>
              <a:gdLst>
                <a:gd name="connsiteX0" fmla="*/ 2491740 w 2491740"/>
                <a:gd name="connsiteY0" fmla="*/ 548640 h 548640"/>
                <a:gd name="connsiteX1" fmla="*/ 0 w 2491740"/>
                <a:gd name="connsiteY1" fmla="*/ 548640 h 548640"/>
                <a:gd name="connsiteX2" fmla="*/ 0 w 2491740"/>
                <a:gd name="connsiteY2" fmla="*/ 0 h 548640"/>
                <a:gd name="connsiteX3" fmla="*/ 2491740 w 2491740"/>
                <a:gd name="connsiteY3" fmla="*/ 0 h 548640"/>
                <a:gd name="connsiteX4" fmla="*/ 2491740 w 2491740"/>
                <a:gd name="connsiteY4" fmla="*/ 548640 h 548640"/>
                <a:gd name="connsiteX5" fmla="*/ 2491740 w 2491740"/>
                <a:gd name="connsiteY5" fmla="*/ 548640 h 54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1740" h="548640">
                  <a:moveTo>
                    <a:pt x="2491740" y="548640"/>
                  </a:moveTo>
                  <a:lnTo>
                    <a:pt x="0" y="548640"/>
                  </a:lnTo>
                  <a:lnTo>
                    <a:pt x="0" y="0"/>
                  </a:lnTo>
                  <a:lnTo>
                    <a:pt x="2491740" y="0"/>
                  </a:lnTo>
                  <a:lnTo>
                    <a:pt x="2491740" y="548640"/>
                  </a:lnTo>
                  <a:lnTo>
                    <a:pt x="2491740" y="548640"/>
                  </a:lnTo>
                  <a:close/>
                </a:path>
              </a:pathLst>
            </a:custGeom>
            <a:noFill/>
            <a:ln w="0" cap="flat">
              <a:noFill/>
              <a:prstDash val="solid"/>
              <a:miter/>
            </a:ln>
          </p:spPr>
          <p:txBody>
            <a:bodyPr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B8F5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Privacy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 solutions should be designed to comply with applicable privacy and data protection laws and regulations.</a:t>
              </a:r>
            </a:p>
          </p:txBody>
        </p:sp>
        <p:pic>
          <p:nvPicPr>
            <p:cNvPr id="115" name="Graphic 114">
              <a:extLst>
                <a:ext uri="{FF2B5EF4-FFF2-40B4-BE49-F238E27FC236}">
                  <a16:creationId xmlns:a16="http://schemas.microsoft.com/office/drawing/2014/main" id="{41ED9DF4-3013-6D5D-98AA-CFCAAF06E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022486" y="4518611"/>
              <a:ext cx="329623" cy="342300"/>
            </a:xfrm>
            <a:prstGeom prst="rect">
              <a:avLst/>
            </a:prstGeom>
          </p:spPr>
        </p:pic>
        <p:pic>
          <p:nvPicPr>
            <p:cNvPr id="120" name="Graphic 119">
              <a:extLst>
                <a:ext uri="{FF2B5EF4-FFF2-40B4-BE49-F238E27FC236}">
                  <a16:creationId xmlns:a16="http://schemas.microsoft.com/office/drawing/2014/main" id="{A8018251-F5B9-94C2-DE2C-7390448856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411860" y="4499594"/>
              <a:ext cx="240878" cy="380334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79E6DCB-B253-41AB-E103-B8D8912916D7}"/>
              </a:ext>
            </a:extLst>
          </p:cNvPr>
          <p:cNvGrpSpPr/>
          <p:nvPr/>
        </p:nvGrpSpPr>
        <p:grpSpPr>
          <a:xfrm>
            <a:off x="1002893" y="5243920"/>
            <a:ext cx="10187668" cy="730969"/>
            <a:chOff x="1002893" y="5243920"/>
            <a:chExt cx="10187668" cy="730969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C6C06A19-957F-8C11-8080-2AFE3A0A11CC}"/>
                </a:ext>
              </a:extLst>
            </p:cNvPr>
            <p:cNvSpPr/>
            <p:nvPr/>
          </p:nvSpPr>
          <p:spPr>
            <a:xfrm>
              <a:off x="1593123" y="5243920"/>
              <a:ext cx="4206240" cy="730969"/>
            </a:xfrm>
            <a:custGeom>
              <a:avLst/>
              <a:gdLst>
                <a:gd name="connsiteX0" fmla="*/ 0 w 2491740"/>
                <a:gd name="connsiteY0" fmla="*/ 548640 h 548640"/>
                <a:gd name="connsiteX1" fmla="*/ 2491740 w 2491740"/>
                <a:gd name="connsiteY1" fmla="*/ 548640 h 548640"/>
                <a:gd name="connsiteX2" fmla="*/ 2491740 w 2491740"/>
                <a:gd name="connsiteY2" fmla="*/ 0 h 548640"/>
                <a:gd name="connsiteX3" fmla="*/ 0 w 2491740"/>
                <a:gd name="connsiteY3" fmla="*/ 0 h 548640"/>
                <a:gd name="connsiteX4" fmla="*/ 0 w 2491740"/>
                <a:gd name="connsiteY4" fmla="*/ 548640 h 548640"/>
                <a:gd name="connsiteX5" fmla="*/ 0 w 2491740"/>
                <a:gd name="connsiteY5" fmla="*/ 548640 h 54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1740" h="548640">
                  <a:moveTo>
                    <a:pt x="0" y="548640"/>
                  </a:moveTo>
                  <a:lnTo>
                    <a:pt x="2491740" y="548640"/>
                  </a:lnTo>
                  <a:lnTo>
                    <a:pt x="2491740" y="0"/>
                  </a:lnTo>
                  <a:lnTo>
                    <a:pt x="0" y="0"/>
                  </a:lnTo>
                  <a:lnTo>
                    <a:pt x="0" y="548640"/>
                  </a:lnTo>
                  <a:lnTo>
                    <a:pt x="0" y="548640"/>
                  </a:lnTo>
                  <a:close/>
                </a:path>
              </a:pathLst>
            </a:custGeom>
            <a:noFill/>
            <a:ln w="0" cap="flat">
              <a:noFill/>
              <a:prstDash val="solid"/>
              <a:miter/>
            </a:ln>
          </p:spPr>
          <p:txBody>
            <a:bodyPr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B8F5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Data Integri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 used in Al solutions should be acquired in compliance with applicable laws and regulators and assessed for accuracy, completeness, appropriateness, and quality to drive trusted decisions. </a:t>
              </a: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212E48BC-8754-9619-B887-9135FA813AEA}"/>
                </a:ext>
              </a:extLst>
            </p:cNvPr>
            <p:cNvSpPr/>
            <p:nvPr/>
          </p:nvSpPr>
          <p:spPr>
            <a:xfrm>
              <a:off x="6984321" y="5317017"/>
              <a:ext cx="4206240" cy="584775"/>
            </a:xfrm>
            <a:custGeom>
              <a:avLst/>
              <a:gdLst>
                <a:gd name="connsiteX0" fmla="*/ 2491740 w 2491740"/>
                <a:gd name="connsiteY0" fmla="*/ 548640 h 548640"/>
                <a:gd name="connsiteX1" fmla="*/ 0 w 2491740"/>
                <a:gd name="connsiteY1" fmla="*/ 548640 h 548640"/>
                <a:gd name="connsiteX2" fmla="*/ 0 w 2491740"/>
                <a:gd name="connsiteY2" fmla="*/ 0 h 548640"/>
                <a:gd name="connsiteX3" fmla="*/ 2491740 w 2491740"/>
                <a:gd name="connsiteY3" fmla="*/ 0 h 548640"/>
                <a:gd name="connsiteX4" fmla="*/ 2491740 w 2491740"/>
                <a:gd name="connsiteY4" fmla="*/ 548640 h 548640"/>
                <a:gd name="connsiteX5" fmla="*/ 2491740 w 2491740"/>
                <a:gd name="connsiteY5" fmla="*/ 548640 h 548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1740" h="548640">
                  <a:moveTo>
                    <a:pt x="2491740" y="548640"/>
                  </a:moveTo>
                  <a:lnTo>
                    <a:pt x="0" y="548640"/>
                  </a:lnTo>
                  <a:lnTo>
                    <a:pt x="0" y="0"/>
                  </a:lnTo>
                  <a:lnTo>
                    <a:pt x="2491740" y="0"/>
                  </a:lnTo>
                  <a:lnTo>
                    <a:pt x="2491740" y="548640"/>
                  </a:lnTo>
                  <a:lnTo>
                    <a:pt x="2491740" y="548640"/>
                  </a:lnTo>
                  <a:close/>
                </a:path>
              </a:pathLst>
            </a:custGeom>
            <a:noFill/>
            <a:ln w="0" cap="flat">
              <a:noFill/>
              <a:prstDash val="solid"/>
              <a:miter/>
            </a:ln>
          </p:spPr>
          <p:txBody>
            <a:bodyPr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B8F5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rPr>
                <a:t>Sustainability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 solutions should be designed to be energy efficient, reduce carbon emissions, and support a cleaner environment </a:t>
              </a:r>
            </a:p>
          </p:txBody>
        </p:sp>
        <p:pic>
          <p:nvPicPr>
            <p:cNvPr id="116" name="Graphic 115">
              <a:extLst>
                <a:ext uri="{FF2B5EF4-FFF2-40B4-BE49-F238E27FC236}">
                  <a16:creationId xmlns:a16="http://schemas.microsoft.com/office/drawing/2014/main" id="{6B4A5E30-7090-B967-D0BD-90CA49C590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002893" y="5488389"/>
              <a:ext cx="368808" cy="242031"/>
            </a:xfrm>
            <a:prstGeom prst="rect">
              <a:avLst/>
            </a:prstGeom>
          </p:spPr>
        </p:pic>
        <p:pic>
          <p:nvPicPr>
            <p:cNvPr id="121" name="Graphic 120">
              <a:extLst>
                <a:ext uri="{FF2B5EF4-FFF2-40B4-BE49-F238E27FC236}">
                  <a16:creationId xmlns:a16="http://schemas.microsoft.com/office/drawing/2014/main" id="{503466AF-1986-1FBF-3D95-C60C7C3F4B3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330607" y="5453813"/>
              <a:ext cx="403384" cy="311182"/>
            </a:xfrm>
            <a:prstGeom prst="rect">
              <a:avLst/>
            </a:prstGeom>
          </p:spPr>
        </p:pic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E68D1D2-5129-287E-5727-E7E616794183}"/>
              </a:ext>
            </a:extLst>
          </p:cNvPr>
          <p:cNvCxnSpPr>
            <a:cxnSpLocks/>
          </p:cNvCxnSpPr>
          <p:nvPr/>
        </p:nvCxnSpPr>
        <p:spPr>
          <a:xfrm>
            <a:off x="1041503" y="2356841"/>
            <a:ext cx="4906810" cy="0"/>
          </a:xfrm>
          <a:prstGeom prst="line">
            <a:avLst/>
          </a:prstGeom>
          <a:ln w="6350">
            <a:solidFill>
              <a:schemeClr val="accent4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E30132-6302-177B-414A-E5A8CFB462AA}"/>
              </a:ext>
            </a:extLst>
          </p:cNvPr>
          <p:cNvCxnSpPr>
            <a:cxnSpLocks/>
          </p:cNvCxnSpPr>
          <p:nvPr/>
        </p:nvCxnSpPr>
        <p:spPr>
          <a:xfrm>
            <a:off x="1041503" y="3256598"/>
            <a:ext cx="4906810" cy="0"/>
          </a:xfrm>
          <a:prstGeom prst="line">
            <a:avLst/>
          </a:prstGeom>
          <a:ln w="6350">
            <a:solidFill>
              <a:schemeClr val="accent4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C53283-735B-57C5-2FBE-E7046844AFB5}"/>
              </a:ext>
            </a:extLst>
          </p:cNvPr>
          <p:cNvCxnSpPr>
            <a:cxnSpLocks/>
          </p:cNvCxnSpPr>
          <p:nvPr/>
        </p:nvCxnSpPr>
        <p:spPr>
          <a:xfrm>
            <a:off x="1041503" y="4208060"/>
            <a:ext cx="4906810" cy="0"/>
          </a:xfrm>
          <a:prstGeom prst="line">
            <a:avLst/>
          </a:prstGeom>
          <a:ln w="6350">
            <a:solidFill>
              <a:schemeClr val="accent4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D7437A3-9712-8160-C422-7AEE5CF6C68A}"/>
              </a:ext>
            </a:extLst>
          </p:cNvPr>
          <p:cNvCxnSpPr>
            <a:cxnSpLocks/>
          </p:cNvCxnSpPr>
          <p:nvPr/>
        </p:nvCxnSpPr>
        <p:spPr>
          <a:xfrm>
            <a:off x="1041503" y="5159523"/>
            <a:ext cx="4906810" cy="0"/>
          </a:xfrm>
          <a:prstGeom prst="line">
            <a:avLst/>
          </a:prstGeom>
          <a:ln w="6350">
            <a:solidFill>
              <a:schemeClr val="accent4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08C15E1-4DE7-5249-FDA3-8A4F8ED47A30}"/>
              </a:ext>
            </a:extLst>
          </p:cNvPr>
          <p:cNvCxnSpPr>
            <a:cxnSpLocks/>
          </p:cNvCxnSpPr>
          <p:nvPr/>
        </p:nvCxnSpPr>
        <p:spPr>
          <a:xfrm>
            <a:off x="6293003" y="2356841"/>
            <a:ext cx="4906810" cy="0"/>
          </a:xfrm>
          <a:prstGeom prst="line">
            <a:avLst/>
          </a:prstGeom>
          <a:ln w="6350">
            <a:solidFill>
              <a:schemeClr val="accent4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AD987DF-C56D-B5A3-071A-EECBF4DEDD1B}"/>
              </a:ext>
            </a:extLst>
          </p:cNvPr>
          <p:cNvCxnSpPr>
            <a:cxnSpLocks/>
          </p:cNvCxnSpPr>
          <p:nvPr/>
        </p:nvCxnSpPr>
        <p:spPr>
          <a:xfrm>
            <a:off x="6293003" y="3256598"/>
            <a:ext cx="4906810" cy="0"/>
          </a:xfrm>
          <a:prstGeom prst="line">
            <a:avLst/>
          </a:prstGeom>
          <a:ln w="6350">
            <a:solidFill>
              <a:schemeClr val="accent4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76FEB2F-10FE-FF0D-3195-0519356B0CA5}"/>
              </a:ext>
            </a:extLst>
          </p:cNvPr>
          <p:cNvCxnSpPr>
            <a:cxnSpLocks/>
          </p:cNvCxnSpPr>
          <p:nvPr/>
        </p:nvCxnSpPr>
        <p:spPr>
          <a:xfrm>
            <a:off x="6293003" y="4208060"/>
            <a:ext cx="4906810" cy="0"/>
          </a:xfrm>
          <a:prstGeom prst="line">
            <a:avLst/>
          </a:prstGeom>
          <a:ln w="6350">
            <a:solidFill>
              <a:schemeClr val="accent4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09568F-5983-2F84-8299-47340C54AB3C}"/>
              </a:ext>
            </a:extLst>
          </p:cNvPr>
          <p:cNvCxnSpPr>
            <a:cxnSpLocks/>
          </p:cNvCxnSpPr>
          <p:nvPr/>
        </p:nvCxnSpPr>
        <p:spPr>
          <a:xfrm>
            <a:off x="6293003" y="5159523"/>
            <a:ext cx="4906810" cy="0"/>
          </a:xfrm>
          <a:prstGeom prst="line">
            <a:avLst/>
          </a:prstGeom>
          <a:ln w="6350">
            <a:solidFill>
              <a:schemeClr val="accent4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F1C7D96-5DFB-0B9D-D261-AFEE16A39F76}"/>
              </a:ext>
            </a:extLst>
          </p:cNvPr>
          <p:cNvCxnSpPr>
            <a:cxnSpLocks/>
          </p:cNvCxnSpPr>
          <p:nvPr/>
        </p:nvCxnSpPr>
        <p:spPr>
          <a:xfrm>
            <a:off x="6096000" y="1777708"/>
            <a:ext cx="0" cy="4197181"/>
          </a:xfrm>
          <a:prstGeom prst="line">
            <a:avLst/>
          </a:prstGeom>
          <a:ln w="6350">
            <a:solidFill>
              <a:schemeClr val="accent4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85399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2EE9M3Qsi61nqy71pN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heme/theme1.xml><?xml version="1.0" encoding="utf-8"?>
<a:theme xmlns:a="http://schemas.openxmlformats.org/drawingml/2006/main" name="Master-2024">
  <a:themeElements>
    <a:clrScheme name="KPMG NEW Brand Color Palette 2022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Presentation2" id="{6F9D073B-8B7E-4CCD-B454-11736666544F}" vid="{CB0E54E2-5236-4DAF-8398-713F6E87C91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428</Words>
  <Application>Microsoft Office PowerPoint</Application>
  <PresentationFormat>Widescreen</PresentationFormat>
  <Paragraphs>33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Arial Regular</vt:lpstr>
      <vt:lpstr>KPMG Bold</vt:lpstr>
      <vt:lpstr>Master-2024</vt:lpstr>
      <vt:lpstr>think-cell Slide</vt:lpstr>
      <vt:lpstr>KPMG’s Trusted AI Framework</vt:lpstr>
      <vt:lpstr>KPMG Trusted AI </vt:lpstr>
      <vt:lpstr>The KPMG Trusted Al ethical pillars</vt:lpstr>
    </vt:vector>
  </TitlesOfParts>
  <Company>KPM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PMG’s Trusted AI Framework</dc:title>
  <dc:creator>Palumbo, Serena</dc:creator>
  <cp:lastModifiedBy>Palumbo, Serena</cp:lastModifiedBy>
  <cp:revision>1</cp:revision>
  <dcterms:created xsi:type="dcterms:W3CDTF">2024-02-27T15:07:36Z</dcterms:created>
  <dcterms:modified xsi:type="dcterms:W3CDTF">2024-02-27T15:09:17Z</dcterms:modified>
</cp:coreProperties>
</file>